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8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Override1.xml" ContentType="application/vnd.openxmlformats-officedocument.themeOverride+xml"/>
  <Override PartName="/ppt/theme/theme2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"/>
  </p:notesMasterIdLst>
  <p:sldIdLst>
    <p:sldId id="2147482452" r:id="rId2"/>
    <p:sldId id="351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C14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FD58D76-DFE1-42C0-A2D4-69BC3BBBFD42}" v="77" dt="2025-12-08T18:46:00.406"/>
  </p1510:revLst>
</p1510:revInfo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381" autoAdjust="0"/>
    <p:restoredTop sz="94660"/>
  </p:normalViewPr>
  <p:slideViewPr>
    <p:cSldViewPr snapToGrid="0">
      <p:cViewPr varScale="1">
        <p:scale>
          <a:sx n="124" d="100"/>
          <a:sy n="124" d="100"/>
        </p:scale>
        <p:origin x="540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13" Type="http://schemas.openxmlformats.org/officeDocument/2006/relationships/customXml" Target="../customXml/item3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12" Type="http://schemas.openxmlformats.org/officeDocument/2006/relationships/customXml" Target="../customXml/item2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11" Type="http://schemas.openxmlformats.org/officeDocument/2006/relationships/customXml" Target="../customXml/item1.xml"/><Relationship Id="rId5" Type="http://schemas.openxmlformats.org/officeDocument/2006/relationships/presProps" Target="presProps.xml"/><Relationship Id="rId10" Type="http://schemas.microsoft.com/office/2015/10/relationships/revisionInfo" Target="revisionInfo.xml"/><Relationship Id="rId4" Type="http://schemas.openxmlformats.org/officeDocument/2006/relationships/notesMaster" Target="notesMasters/notesMaster1.xml"/><Relationship Id="rId9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iam.mahdy309@gmail.com" userId="be7e308ab64a6cc6" providerId="LiveId" clId="{CFD58D76-DFE1-42C0-A2D4-69BC3BBBFD42}"/>
    <pc:docChg chg="undo custSel delSld modSld">
      <pc:chgData name="mariam.mahdy309@gmail.com" userId="be7e308ab64a6cc6" providerId="LiveId" clId="{CFD58D76-DFE1-42C0-A2D4-69BC3BBBFD42}" dt="2025-12-08T18:56:22.129" v="946" actId="108"/>
      <pc:docMkLst>
        <pc:docMk/>
      </pc:docMkLst>
      <pc:sldChg chg="addSp delSp modSp mod">
        <pc:chgData name="mariam.mahdy309@gmail.com" userId="be7e308ab64a6cc6" providerId="LiveId" clId="{CFD58D76-DFE1-42C0-A2D4-69BC3BBBFD42}" dt="2025-12-08T18:56:22.129" v="946" actId="108"/>
        <pc:sldMkLst>
          <pc:docMk/>
          <pc:sldMk cId="2429660822" sldId="351"/>
        </pc:sldMkLst>
        <pc:spChg chg="add del mod">
          <ac:chgData name="mariam.mahdy309@gmail.com" userId="be7e308ab64a6cc6" providerId="LiveId" clId="{CFD58D76-DFE1-42C0-A2D4-69BC3BBBFD42}" dt="2025-12-08T18:20:01.868" v="808" actId="767"/>
          <ac:spMkLst>
            <pc:docMk/>
            <pc:sldMk cId="2429660822" sldId="351"/>
            <ac:spMk id="3" creationId="{C006A5B2-1801-49BE-83A8-617B4061887C}"/>
          </ac:spMkLst>
        </pc:spChg>
        <pc:spChg chg="add del mod">
          <ac:chgData name="mariam.mahdy309@gmail.com" userId="be7e308ab64a6cc6" providerId="LiveId" clId="{CFD58D76-DFE1-42C0-A2D4-69BC3BBBFD42}" dt="2025-12-08T18:20:10.880" v="810" actId="767"/>
          <ac:spMkLst>
            <pc:docMk/>
            <pc:sldMk cId="2429660822" sldId="351"/>
            <ac:spMk id="4" creationId="{C8270062-608B-44CB-AF56-4B12B9E5C999}"/>
          </ac:spMkLst>
        </pc:spChg>
        <pc:spChg chg="mod">
          <ac:chgData name="mariam.mahdy309@gmail.com" userId="be7e308ab64a6cc6" providerId="LiveId" clId="{CFD58D76-DFE1-42C0-A2D4-69BC3BBBFD42}" dt="2025-12-08T17:57:11.893" v="718" actId="255"/>
          <ac:spMkLst>
            <pc:docMk/>
            <pc:sldMk cId="2429660822" sldId="351"/>
            <ac:spMk id="5" creationId="{1CE45F78-3908-4D1A-82F1-C1ADC42E3FB1}"/>
          </ac:spMkLst>
        </pc:spChg>
        <pc:spChg chg="mod">
          <ac:chgData name="mariam.mahdy309@gmail.com" userId="be7e308ab64a6cc6" providerId="LiveId" clId="{CFD58D76-DFE1-42C0-A2D4-69BC3BBBFD42}" dt="2025-12-08T18:27:14.622" v="845" actId="2711"/>
          <ac:spMkLst>
            <pc:docMk/>
            <pc:sldMk cId="2429660822" sldId="351"/>
            <ac:spMk id="6" creationId="{2A4C66E9-CF65-4A0F-9A16-76B64C582F3A}"/>
          </ac:spMkLst>
        </pc:spChg>
        <pc:spChg chg="mod">
          <ac:chgData name="mariam.mahdy309@gmail.com" userId="be7e308ab64a6cc6" providerId="LiveId" clId="{CFD58D76-DFE1-42C0-A2D4-69BC3BBBFD42}" dt="2025-12-08T18:56:22.129" v="946" actId="108"/>
          <ac:spMkLst>
            <pc:docMk/>
            <pc:sldMk cId="2429660822" sldId="351"/>
            <ac:spMk id="7" creationId="{4D883F2B-B3CE-4AB4-AB99-0AA90A5717A9}"/>
          </ac:spMkLst>
        </pc:spChg>
        <pc:spChg chg="add del mod">
          <ac:chgData name="mariam.mahdy309@gmail.com" userId="be7e308ab64a6cc6" providerId="LiveId" clId="{CFD58D76-DFE1-42C0-A2D4-69BC3BBBFD42}" dt="2025-12-08T18:20:19.237" v="812" actId="767"/>
          <ac:spMkLst>
            <pc:docMk/>
            <pc:sldMk cId="2429660822" sldId="351"/>
            <ac:spMk id="8" creationId="{B02352ED-1684-4B17-B297-A288736F46D4}"/>
          </ac:spMkLst>
        </pc:spChg>
        <pc:spChg chg="add mod">
          <ac:chgData name="mariam.mahdy309@gmail.com" userId="be7e308ab64a6cc6" providerId="LiveId" clId="{CFD58D76-DFE1-42C0-A2D4-69BC3BBBFD42}" dt="2025-12-08T18:27:41.514" v="847" actId="113"/>
          <ac:spMkLst>
            <pc:docMk/>
            <pc:sldMk cId="2429660822" sldId="351"/>
            <ac:spMk id="9" creationId="{451FAE40-764A-4069-BF77-488A5B661FA3}"/>
          </ac:spMkLst>
        </pc:spChg>
        <pc:picChg chg="del mod">
          <ac:chgData name="mariam.mahdy309@gmail.com" userId="be7e308ab64a6cc6" providerId="LiveId" clId="{CFD58D76-DFE1-42C0-A2D4-69BC3BBBFD42}" dt="2025-12-08T18:21:19.080" v="822" actId="21"/>
          <ac:picMkLst>
            <pc:docMk/>
            <pc:sldMk cId="2429660822" sldId="351"/>
            <ac:picMk id="2" creationId="{49C83480-07FA-41ED-8967-2820327476A1}"/>
          </ac:picMkLst>
        </pc:picChg>
      </pc:sldChg>
      <pc:sldChg chg="modSp del mod">
        <pc:chgData name="mariam.mahdy309@gmail.com" userId="be7e308ab64a6cc6" providerId="LiveId" clId="{CFD58D76-DFE1-42C0-A2D4-69BC3BBBFD42}" dt="2025-12-08T18:56:07.113" v="945" actId="2696"/>
        <pc:sldMkLst>
          <pc:docMk/>
          <pc:sldMk cId="2133963816" sldId="2134804194"/>
        </pc:sldMkLst>
        <pc:spChg chg="mod">
          <ac:chgData name="mariam.mahdy309@gmail.com" userId="be7e308ab64a6cc6" providerId="LiveId" clId="{CFD58D76-DFE1-42C0-A2D4-69BC3BBBFD42}" dt="2025-12-08T17:53:16.781" v="708"/>
          <ac:spMkLst>
            <pc:docMk/>
            <pc:sldMk cId="2133963816" sldId="2134804194"/>
            <ac:spMk id="14" creationId="{27AC772E-6015-4076-A0DC-005445BF4556}"/>
          </ac:spMkLst>
        </pc:spChg>
        <pc:spChg chg="mod">
          <ac:chgData name="mariam.mahdy309@gmail.com" userId="be7e308ab64a6cc6" providerId="LiveId" clId="{CFD58D76-DFE1-42C0-A2D4-69BC3BBBFD42}" dt="2025-12-08T17:50:44.952" v="685" actId="255"/>
          <ac:spMkLst>
            <pc:docMk/>
            <pc:sldMk cId="2133963816" sldId="2134804194"/>
            <ac:spMk id="15" creationId="{8C774F04-A5A4-4EBD-93B5-DF1F74CE87CA}"/>
          </ac:spMkLst>
        </pc:spChg>
        <pc:graphicFrameChg chg="mod modGraphic">
          <ac:chgData name="mariam.mahdy309@gmail.com" userId="be7e308ab64a6cc6" providerId="LiveId" clId="{CFD58D76-DFE1-42C0-A2D4-69BC3BBBFD42}" dt="2025-12-08T17:51:35.429" v="690" actId="14100"/>
          <ac:graphicFrameMkLst>
            <pc:docMk/>
            <pc:sldMk cId="2133963816" sldId="2134804194"/>
            <ac:graphicFrameMk id="4" creationId="{7AE35EA6-521E-E077-601E-2DC6D817FA06}"/>
          </ac:graphicFrameMkLst>
        </pc:graphicFrameChg>
      </pc:sldChg>
      <pc:sldChg chg="addSp modSp mod">
        <pc:chgData name="mariam.mahdy309@gmail.com" userId="be7e308ab64a6cc6" providerId="LiveId" clId="{CFD58D76-DFE1-42C0-A2D4-69BC3BBBFD42}" dt="2025-12-08T18:54:28.338" v="944" actId="1076"/>
        <pc:sldMkLst>
          <pc:docMk/>
          <pc:sldMk cId="3616206955" sldId="2147482452"/>
        </pc:sldMkLst>
        <pc:spChg chg="mod">
          <ac:chgData name="mariam.mahdy309@gmail.com" userId="be7e308ab64a6cc6" providerId="LiveId" clId="{CFD58D76-DFE1-42C0-A2D4-69BC3BBBFD42}" dt="2025-12-08T17:28:49.179" v="453" actId="20577"/>
          <ac:spMkLst>
            <pc:docMk/>
            <pc:sldMk cId="3616206955" sldId="2147482452"/>
            <ac:spMk id="2" creationId="{79534F91-FFF5-4BE2-969F-08BDA81C29D8}"/>
          </ac:spMkLst>
        </pc:spChg>
        <pc:spChg chg="mod">
          <ac:chgData name="mariam.mahdy309@gmail.com" userId="be7e308ab64a6cc6" providerId="LiveId" clId="{CFD58D76-DFE1-42C0-A2D4-69BC3BBBFD42}" dt="2025-12-08T18:49:25.439" v="942" actId="20577"/>
          <ac:spMkLst>
            <pc:docMk/>
            <pc:sldMk cId="3616206955" sldId="2147482452"/>
            <ac:spMk id="4" creationId="{B8F5D341-9478-460E-8ACF-8E2BF1B80AC6}"/>
          </ac:spMkLst>
        </pc:spChg>
        <pc:spChg chg="add mod">
          <ac:chgData name="mariam.mahdy309@gmail.com" userId="be7e308ab64a6cc6" providerId="LiveId" clId="{CFD58D76-DFE1-42C0-A2D4-69BC3BBBFD42}" dt="2025-12-08T16:32:49.218" v="91" actId="767"/>
          <ac:spMkLst>
            <pc:docMk/>
            <pc:sldMk cId="3616206955" sldId="2147482452"/>
            <ac:spMk id="6" creationId="{E26088F4-A317-4585-8DA1-0604202B7351}"/>
          </ac:spMkLst>
        </pc:spChg>
        <pc:spChg chg="mod">
          <ac:chgData name="mariam.mahdy309@gmail.com" userId="be7e308ab64a6cc6" providerId="LiveId" clId="{CFD58D76-DFE1-42C0-A2D4-69BC3BBBFD42}" dt="2025-12-08T18:23:16.170" v="826" actId="1076"/>
          <ac:spMkLst>
            <pc:docMk/>
            <pc:sldMk cId="3616206955" sldId="2147482452"/>
            <ac:spMk id="9" creationId="{A68310E0-CF63-4276-BC7B-52B36A6230C6}"/>
          </ac:spMkLst>
        </pc:spChg>
        <pc:spChg chg="mod">
          <ac:chgData name="mariam.mahdy309@gmail.com" userId="be7e308ab64a6cc6" providerId="LiveId" clId="{CFD58D76-DFE1-42C0-A2D4-69BC3BBBFD42}" dt="2025-12-08T17:52:57.869" v="707"/>
          <ac:spMkLst>
            <pc:docMk/>
            <pc:sldMk cId="3616206955" sldId="2147482452"/>
            <ac:spMk id="14" creationId="{27AC772E-6015-4076-A0DC-005445BF4556}"/>
          </ac:spMkLst>
        </pc:spChg>
        <pc:spChg chg="mod">
          <ac:chgData name="mariam.mahdy309@gmail.com" userId="be7e308ab64a6cc6" providerId="LiveId" clId="{CFD58D76-DFE1-42C0-A2D4-69BC3BBBFD42}" dt="2025-12-08T17:38:12.880" v="530" actId="1076"/>
          <ac:spMkLst>
            <pc:docMk/>
            <pc:sldMk cId="3616206955" sldId="2147482452"/>
            <ac:spMk id="15" creationId="{8C774F04-A5A4-4EBD-93B5-DF1F74CE87CA}"/>
          </ac:spMkLst>
        </pc:spChg>
        <pc:graphicFrameChg chg="mod modGraphic">
          <ac:chgData name="mariam.mahdy309@gmail.com" userId="be7e308ab64a6cc6" providerId="LiveId" clId="{CFD58D76-DFE1-42C0-A2D4-69BC3BBBFD42}" dt="2025-12-08T18:37:47.175" v="895" actId="14100"/>
          <ac:graphicFrameMkLst>
            <pc:docMk/>
            <pc:sldMk cId="3616206955" sldId="2147482452"/>
            <ac:graphicFrameMk id="3" creationId="{B592F9CC-8872-85B2-4C1E-511EF767677A}"/>
          </ac:graphicFrameMkLst>
        </pc:graphicFrameChg>
        <pc:picChg chg="mod">
          <ac:chgData name="mariam.mahdy309@gmail.com" userId="be7e308ab64a6cc6" providerId="LiveId" clId="{CFD58D76-DFE1-42C0-A2D4-69BC3BBBFD42}" dt="2025-12-08T18:54:28.338" v="944" actId="1076"/>
          <ac:picMkLst>
            <pc:docMk/>
            <pc:sldMk cId="3616206955" sldId="2147482452"/>
            <ac:picMk id="5" creationId="{F353BAAD-46CF-7621-2376-441C430D6E26}"/>
          </ac:picMkLst>
        </pc:picChg>
        <pc:picChg chg="mod">
          <ac:chgData name="mariam.mahdy309@gmail.com" userId="be7e308ab64a6cc6" providerId="LiveId" clId="{CFD58D76-DFE1-42C0-A2D4-69BC3BBBFD42}" dt="2025-12-08T18:22:22.563" v="825" actId="14100"/>
          <ac:picMkLst>
            <pc:docMk/>
            <pc:sldMk cId="3616206955" sldId="2147482452"/>
            <ac:picMk id="18" creationId="{49B449B1-B4B2-A2EF-D7F1-2C3CC782EF0C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EB68D2-075F-45F0-AA7A-E27C97527D61}" type="datetimeFigureOut">
              <a:rPr lang="en-US" smtClean="0"/>
              <a:t>12/11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D81B4D-78C2-45E7-B3B0-4CF7895CAC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85669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Ensure all dates and titles are input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A short description should be provided without mentioning names of contractors or individuals.  You should include, what happened, to who (by job title) and what injuries this resulted in.  Nothing more!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Four to five bullet points highlighting the main findings from the investigation.  Remember the target audience is the front line staff so this should be written in simple terms in a way that everyone can understand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The strap line should be the main point you want to get acros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The images should be self explanatory, what went wrong (if you create a reconstruction please ensure you do not put people at risk) and below how it should be done.   </a:t>
            </a:r>
          </a:p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onfidential - Not to be shared outside of PDO/PDO contractor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8714CE-FB4E-4316-BED5-DE0DF6B1D8E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13545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180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Guideline for Effective Learning &amp; Sustainability</a:t>
            </a:r>
            <a:endParaRPr lang="en-US" sz="1800">
              <a:effectLst/>
              <a:latin typeface="Calibri" panose="020F0502020204030204" pitchFamily="34" charset="0"/>
            </a:endParaRPr>
          </a:p>
          <a:p>
            <a:pPr>
              <a:lnSpc>
                <a:spcPct val="107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1800">
                <a:effectLst/>
                <a:latin typeface="Times New Roman" panose="02020603050405020304" pitchFamily="18" charset="0"/>
              </a:rPr>
              <a:t>•</a:t>
            </a:r>
            <a:r>
              <a:rPr lang="en-US" sz="180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an be</a:t>
            </a:r>
            <a:r>
              <a:rPr lang="en-US" sz="1800">
                <a:effectLst/>
                <a:latin typeface="Times New Roman" panose="02020603050405020304" pitchFamily="18" charset="0"/>
              </a:rPr>
              <a:t> </a:t>
            </a:r>
            <a:r>
              <a:rPr lang="en-US" sz="180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eplicated</a:t>
            </a:r>
            <a:r>
              <a:rPr lang="en-US" sz="1800">
                <a:effectLst/>
                <a:latin typeface="Times New Roman" panose="02020603050405020304" pitchFamily="18" charset="0"/>
              </a:rPr>
              <a:t> </a:t>
            </a:r>
            <a:r>
              <a:rPr lang="en-US" sz="180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cross</a:t>
            </a:r>
            <a:r>
              <a:rPr lang="en-US" sz="1800">
                <a:effectLst/>
                <a:latin typeface="Times New Roman" panose="02020603050405020304" pitchFamily="18" charset="0"/>
              </a:rPr>
              <a:t> </a:t>
            </a:r>
            <a:r>
              <a:rPr lang="en-US" sz="180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imilar</a:t>
            </a:r>
            <a:r>
              <a:rPr lang="en-US" sz="1800">
                <a:effectLst/>
                <a:latin typeface="Times New Roman" panose="02020603050405020304" pitchFamily="18" charset="0"/>
              </a:rPr>
              <a:t> </a:t>
            </a:r>
            <a:r>
              <a:rPr lang="en-US" sz="180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ontractor</a:t>
            </a:r>
            <a:r>
              <a:rPr lang="en-US" sz="1800">
                <a:effectLst/>
                <a:latin typeface="Times New Roman" panose="02020603050405020304" pitchFamily="18" charset="0"/>
              </a:rPr>
              <a:t> </a:t>
            </a:r>
            <a:r>
              <a:rPr lang="en-US" sz="180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/</a:t>
            </a:r>
            <a:r>
              <a:rPr lang="en-US" sz="1800">
                <a:effectLst/>
                <a:latin typeface="Times New Roman" panose="02020603050405020304" pitchFamily="18" charset="0"/>
              </a:rPr>
              <a:t> </a:t>
            </a:r>
            <a:r>
              <a:rPr lang="en-US" sz="180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ctivities</a:t>
            </a:r>
            <a:endParaRPr lang="en-US" sz="1800">
              <a:effectLst/>
              <a:latin typeface="Calibri" panose="020F0502020204030204" pitchFamily="34" charset="0"/>
            </a:endParaRPr>
          </a:p>
          <a:p>
            <a:pPr>
              <a:lnSpc>
                <a:spcPct val="107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1800">
                <a:effectLst/>
                <a:latin typeface="Times New Roman" panose="02020603050405020304" pitchFamily="18" charset="0"/>
              </a:rPr>
              <a:t>•</a:t>
            </a:r>
            <a:r>
              <a:rPr lang="en-US" sz="180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hall be SMART- Specific ,Measurable , Achievable ,Realistic &amp; Timebound</a:t>
            </a:r>
            <a:endParaRPr lang="en-US" sz="1800">
              <a:effectLst/>
              <a:latin typeface="Calibri" panose="020F0502020204030204" pitchFamily="34" charset="0"/>
            </a:endParaRPr>
          </a:p>
          <a:p>
            <a:pPr>
              <a:lnSpc>
                <a:spcPct val="107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1800">
                <a:effectLst/>
                <a:latin typeface="Times New Roman" panose="02020603050405020304" pitchFamily="18" charset="0"/>
              </a:rPr>
              <a:t>•</a:t>
            </a:r>
            <a:r>
              <a:rPr lang="en-US" sz="180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an be</a:t>
            </a:r>
            <a:r>
              <a:rPr lang="en-US" sz="1800">
                <a:effectLst/>
                <a:latin typeface="Times New Roman" panose="02020603050405020304" pitchFamily="18" charset="0"/>
              </a:rPr>
              <a:t> </a:t>
            </a:r>
            <a:r>
              <a:rPr lang="en-US" sz="180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implemented</a:t>
            </a:r>
            <a:r>
              <a:rPr lang="en-US" sz="1800">
                <a:effectLst/>
                <a:latin typeface="Times New Roman" panose="02020603050405020304" pitchFamily="18" charset="0"/>
              </a:rPr>
              <a:t> </a:t>
            </a:r>
            <a:r>
              <a:rPr lang="en-US" sz="180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in</a:t>
            </a:r>
            <a:r>
              <a:rPr lang="en-US" sz="1800">
                <a:effectLst/>
                <a:latin typeface="Times New Roman" panose="02020603050405020304" pitchFamily="18" charset="0"/>
              </a:rPr>
              <a:t> </a:t>
            </a:r>
            <a:r>
              <a:rPr lang="en-US" sz="180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 months' time</a:t>
            </a:r>
            <a:r>
              <a:rPr lang="en-US" sz="1800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 </a:t>
            </a:r>
            <a:endParaRPr lang="en-US" sz="1800">
              <a:effectLst/>
              <a:latin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>
                <a:solidFill>
                  <a:srgbClr val="4E586A"/>
                </a:solidFill>
                <a:effectLst/>
                <a:latin typeface="Segoe UI" panose="020B0502040204020203" pitchFamily="34" charset="0"/>
              </a:rPr>
              <a:t> </a:t>
            </a:r>
            <a:endParaRPr lang="en-US" sz="1800">
              <a:effectLst/>
              <a:latin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>
                <a:effectLst/>
                <a:latin typeface="Calibri" panose="020F0502020204030204" pitchFamily="34" charset="0"/>
              </a:rPr>
              <a:t> </a:t>
            </a:r>
          </a:p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onfidential - Not to be shared outside of PDO/PDO contractor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8714CE-FB4E-4316-BED5-DE0DF6B1D8E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05451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4.emf"/><Relationship Id="rId4" Type="http://schemas.openxmlformats.org/officeDocument/2006/relationships/tags" Target="../tags/tag4.xml"/><Relationship Id="rId9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12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71204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12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20503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12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74508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042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19011"/>
            <a:ext cx="11082528" cy="38472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03861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4" y="6498754"/>
            <a:ext cx="100584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4439862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1B9F12B-012B-511E-E1AF-940C15C48F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F6AEF2-20D4-7547-BF78-1F3F36FB60DC}" type="datetimeFigureOut">
              <a:rPr lang="en-US" smtClean="0"/>
              <a:pPr/>
              <a:t>12/11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2153C70-2C6D-7EF6-9D8B-F252F2B794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10630"/>
            <a:ext cx="4114800" cy="365125"/>
          </a:xfrm>
        </p:spPr>
        <p:txBody>
          <a:bodyPr/>
          <a:lstStyle/>
          <a:p>
            <a:r>
              <a:rPr lang="en-US" dirty="0"/>
              <a:t>Confidential - Not to be shared outside of PDO/PDO contractors </a:t>
            </a:r>
          </a:p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F370DFB-2757-20B9-7E69-B0B0CE960C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F64E4-CF39-E842-A871-400C57C21E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55113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12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8491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12/11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33810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12/11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85196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12/11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46189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12/11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47944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2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12/11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56610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12/11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28594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12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onfidential - Not to be shared outside of PDO/PDO contractors </a:t>
            </a:r>
          </a:p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F5837F4-0EF0-4EB8-A16D-265E78EE0C93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0"/>
            <a:ext cx="386366" cy="685800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E9B523F6-A9A3-46FE-B2B7-E53C7D2853E4}"/>
              </a:ext>
            </a:extLst>
          </p:cNvPr>
          <p:cNvGrpSpPr/>
          <p:nvPr userDrawn="1"/>
        </p:nvGrpSpPr>
        <p:grpSpPr>
          <a:xfrm>
            <a:off x="406377" y="5985916"/>
            <a:ext cx="2340722" cy="740868"/>
            <a:chOff x="9289915" y="6117536"/>
            <a:chExt cx="2340722" cy="740868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5D186BF-73E8-40E9-BF74-18F83D802152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289915" y="6117536"/>
              <a:ext cx="2340722" cy="381553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A68DA85E-4B77-46C1-A974-11D1BE5A68EF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9289915" y="6671146"/>
              <a:ext cx="2340722" cy="187258"/>
            </a:xfrm>
            <a:prstGeom prst="rect">
              <a:avLst/>
            </a:prstGeom>
          </p:spPr>
        </p:pic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B8A67900-E5DE-B137-5B35-2C3BF03BED73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804662" y="6642100"/>
            <a:ext cx="611188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LB-Private</a:t>
            </a:r>
          </a:p>
        </p:txBody>
      </p:sp>
    </p:spTree>
    <p:extLst>
      <p:ext uri="{BB962C8B-B14F-4D97-AF65-F5344CB8AC3E}">
        <p14:creationId xmlns:p14="http://schemas.microsoft.com/office/powerpoint/2010/main" val="1691278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">
            <a:extLst>
              <a:ext uri="{FF2B5EF4-FFF2-40B4-BE49-F238E27FC236}">
                <a16:creationId xmlns:a16="http://schemas.microsoft.com/office/drawing/2014/main" id="{B8F5D341-9478-460E-8ACF-8E2BF1B80A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01316" y="1591243"/>
            <a:ext cx="7573835" cy="429348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14300" marR="0" lvl="0" indent="-11430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OM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akkal Majalla" panose="02000000000000000000" pitchFamily="2" charset="-78"/>
                <a:cs typeface="Sakkal Majalla" panose="02000000000000000000" pitchFamily="2" charset="-78"/>
              </a:rPr>
              <a:t>ماذا حـــــــدث؟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algn="r" rtl="1"/>
            <a:r>
              <a:rPr lang="ar-SA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في 6 فبراير 2025، وأثناء عمل</a:t>
            </a:r>
            <a:r>
              <a:rPr lang="ar-OM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 المناوبة النهارية</a:t>
            </a:r>
            <a:r>
              <a:rPr lang="ar-SA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، كان طاقم </a:t>
            </a:r>
            <a:r>
              <a:rPr lang="en-US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SLK</a:t>
            </a:r>
            <a:r>
              <a:rPr lang="ar-EG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 </a:t>
            </a:r>
            <a:r>
              <a:rPr lang="ar-SA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تابع لطرف ثالث</a:t>
            </a:r>
            <a:r>
              <a:rPr lang="ar-EG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 </a:t>
            </a:r>
            <a:r>
              <a:rPr lang="ar-SA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يقوم برفع جهاز التشحيم إلى رأس البئر عبر </a:t>
            </a:r>
            <a:r>
              <a:rPr lang="ar-EG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برج </a:t>
            </a:r>
            <a:r>
              <a:rPr lang="en-US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CT</a:t>
            </a:r>
            <a:r>
              <a:rPr lang="ar-OM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 </a:t>
            </a:r>
            <a:r>
              <a:rPr lang="ar-SA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(المنطقة الصفراء)</a:t>
            </a:r>
            <a:r>
              <a:rPr lang="ar-EG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 </a:t>
            </a:r>
            <a:r>
              <a:rPr lang="ar-SA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أثناء ذلك، اصطدمت حلقة </a:t>
            </a:r>
            <a:r>
              <a:rPr lang="en-US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D</a:t>
            </a:r>
            <a:r>
              <a:rPr lang="ar-EG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 </a:t>
            </a:r>
            <a:r>
              <a:rPr lang="ar-OM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وهي</a:t>
            </a:r>
            <a:r>
              <a:rPr lang="ar-SA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 جزء من ملحقات الرفع</a:t>
            </a:r>
            <a:r>
              <a:rPr lang="ar-EG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 </a:t>
            </a:r>
            <a:r>
              <a:rPr lang="ar-SA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بشبكة قابلة للإزالة (محددة باللون الأحمر) من الجزء العلوي للبرج</a:t>
            </a:r>
            <a:r>
              <a:rPr lang="ar-EG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 </a:t>
            </a:r>
            <a:r>
              <a:rPr lang="ar-SA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مما تسبب في سقوطها</a:t>
            </a:r>
            <a:r>
              <a:rPr lang="ar-EG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 و</a:t>
            </a:r>
            <a:r>
              <a:rPr lang="ar-SA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في وقت الحادث كان أحد مراقبي الرفع واقفًا على السقالة أسفل البرج بالقرب من مسار السقوط المحتمل ولحسن الحظ لم تُسجل أي إصابات.</a:t>
            </a:r>
          </a:p>
          <a:p>
            <a:pPr marL="342900" marR="0" lvl="0" indent="-34290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EG" b="1" dirty="0">
                <a:solidFill>
                  <a:schemeClr val="accent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لماذا حدث ذلك</a:t>
            </a:r>
            <a:r>
              <a:rPr lang="ar-SA" b="1" dirty="0">
                <a:solidFill>
                  <a:schemeClr val="accent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 </a:t>
            </a:r>
            <a:r>
              <a:rPr lang="ar-EG" b="1" dirty="0">
                <a:solidFill>
                  <a:schemeClr val="accent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/</a:t>
            </a:r>
            <a:r>
              <a:rPr lang="ar-SA" b="1" dirty="0">
                <a:solidFill>
                  <a:schemeClr val="accent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الاستنتاج</a:t>
            </a:r>
            <a:r>
              <a:rPr lang="ar-EG" b="1" dirty="0">
                <a:solidFill>
                  <a:schemeClr val="accent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: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marL="171450" marR="0" lvl="0" indent="-17145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ar-SA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إجراء</a:t>
            </a:r>
            <a:r>
              <a:rPr lang="ar-EG" sz="135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 </a:t>
            </a:r>
            <a:r>
              <a:rPr lang="ar-SA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غير </a:t>
            </a:r>
            <a:r>
              <a:rPr lang="ar-EG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مناسب</a:t>
            </a:r>
            <a:r>
              <a:rPr lang="ar-SA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 وافتقار للإشراف الكافي أثناء الرفع</a:t>
            </a:r>
            <a:r>
              <a:rPr lang="ar-EG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.</a:t>
            </a:r>
          </a:p>
          <a:p>
            <a:pPr marL="171450" marR="0" lvl="0" indent="-17145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ar-SA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نقص الرقابة والتحقق قبل الموافقة على تصريح العمل</a:t>
            </a:r>
            <a:r>
              <a:rPr lang="ar-EG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.</a:t>
            </a:r>
            <a:r>
              <a:rPr lang="ar-SA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 </a:t>
            </a:r>
            <a:endParaRPr lang="ar-EG" sz="1350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marL="171450" lvl="0" indent="-171450" algn="r" rtl="1">
              <a:buFont typeface="Arial" panose="020B0604020202020204" pitchFamily="34" charset="0"/>
              <a:buChar char="•"/>
              <a:defRPr/>
            </a:pPr>
            <a:r>
              <a:rPr lang="ar-SA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لم يحدد تقييم مخاطر العمل الخاص بـ </a:t>
            </a:r>
            <a:r>
              <a:rPr lang="en-US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XOM SLK </a:t>
            </a:r>
            <a:r>
              <a:rPr lang="ar-EG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 </a:t>
            </a:r>
            <a:r>
              <a:rPr lang="ar-SA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لمتطلبات اللازمة لتشغيل جهاز التشحيم عبر برج </a:t>
            </a:r>
            <a:r>
              <a:rPr lang="ar-EG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لامتثال.</a:t>
            </a:r>
            <a:r>
              <a:rPr lang="ar-SA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 </a:t>
            </a:r>
            <a:endParaRPr lang="ar-EG" sz="1350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marL="171450" indent="-171450" algn="r" rtl="1">
              <a:buFont typeface="Arial" panose="020B0604020202020204" pitchFamily="34" charset="0"/>
              <a:buChar char="•"/>
            </a:pPr>
            <a:r>
              <a:rPr lang="ar-SA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كانت خطة الرفع الخاصة بـ </a:t>
            </a:r>
            <a:r>
              <a:rPr lang="en-US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XOM SLK </a:t>
            </a:r>
            <a:r>
              <a:rPr lang="ar-SA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عامة وغير مخصصة للمهمة المحددة.</a:t>
            </a:r>
          </a:p>
          <a:p>
            <a:pPr marL="171450" indent="-171450" algn="r" rtl="1">
              <a:buFont typeface="Arial" panose="020B0604020202020204" pitchFamily="34" charset="0"/>
              <a:buChar char="•"/>
            </a:pPr>
            <a:r>
              <a:rPr lang="ar-SA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غياب مشرف الرفع والمراقب المخصص أثناء العملية.</a:t>
            </a:r>
          </a:p>
          <a:p>
            <a:pPr marL="171450" marR="0" lvl="0" indent="-17145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ar-SA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تم اعتبار هذه المهمة روتينية.</a:t>
            </a:r>
            <a:endParaRPr lang="ar-EG" sz="1350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marL="171450" marR="0" lvl="0" indent="-17145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ar-SA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لم يقم مشرف </a:t>
            </a:r>
            <a:r>
              <a:rPr lang="ar-EG" sz="135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شلمبرجير</a:t>
            </a:r>
            <a:r>
              <a:rPr lang="en-US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 </a:t>
            </a:r>
            <a:r>
              <a:rPr lang="ar-SA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بإجراء التحقق من قائمة الفحص الخاصة بالطرف الثالث.</a:t>
            </a:r>
            <a:endParaRPr lang="en-US" sz="1350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marL="114300" marR="0" lvl="0" indent="-11430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 b="1" dirty="0">
                <a:solidFill>
                  <a:schemeClr val="accent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الدروس المستفادة من هذا الحادث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marL="168275" indent="-168275" algn="r" rtl="1">
              <a:buFont typeface="Arial" panose="020B0604020202020204" pitchFamily="34" charset="0"/>
              <a:buChar char="•"/>
            </a:pPr>
            <a:r>
              <a:rPr lang="ar-SA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يجب على مشرف الرفع ضمان الإشراف المستمر في جميع عمليات الرفع الحرجة.</a:t>
            </a:r>
          </a:p>
          <a:p>
            <a:pPr marL="168275" marR="0" lvl="0" indent="-168275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ar-SA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يجب دائمًا التأكد من أن التواصل مع الطرف الثالث متاح بالكامل وأنه يوجد سيطرة كافية</a:t>
            </a:r>
            <a:r>
              <a:rPr lang="ar-EG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.</a:t>
            </a:r>
          </a:p>
          <a:p>
            <a:pPr marL="168275" marR="0" lvl="0" indent="-168275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ar-SA" sz="1350" dirty="0">
                <a:latin typeface="Sakkal Majalla" panose="02000000000000000000" pitchFamily="2" charset="-78"/>
                <a:cs typeface="Sakkal Majalla" panose="02000000000000000000" pitchFamily="2" charset="-78"/>
              </a:rPr>
              <a:t>يجب دائمًا ضمان التحسين المستمر وإعادة تقييم إجراءات التشغيل القياسية وتقييم مخاطر العمل ومتطلبات المعدات مع مراعاة الممارسات الجديدة.</a:t>
            </a:r>
            <a:endParaRPr lang="en-US" sz="1350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9406DC3-6140-45AE-93A8-1D6947A73029}"/>
              </a:ext>
            </a:extLst>
          </p:cNvPr>
          <p:cNvSpPr/>
          <p:nvPr/>
        </p:nvSpPr>
        <p:spPr>
          <a:xfrm>
            <a:off x="487903" y="1295352"/>
            <a:ext cx="3748669" cy="2286000"/>
          </a:xfrm>
          <a:prstGeom prst="rect">
            <a:avLst/>
          </a:prstGeom>
          <a:solidFill>
            <a:srgbClr val="C00000"/>
          </a:solidFill>
          <a:ln w="25400" cap="flat" cmpd="sng" algn="ctr">
            <a:solidFill>
              <a:srgbClr val="00CC99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kkal Majalla" panose="02000000000000000000" pitchFamily="2" charset="-78"/>
                <a:cs typeface="Sakkal Majalla" panose="02000000000000000000" pitchFamily="2" charset="-78"/>
              </a:rPr>
              <a:t>Photo explaining what was done wrong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A16C3A5-10F2-408B-9D18-ED534C5F017C}"/>
              </a:ext>
            </a:extLst>
          </p:cNvPr>
          <p:cNvSpPr/>
          <p:nvPr/>
        </p:nvSpPr>
        <p:spPr>
          <a:xfrm>
            <a:off x="487903" y="3808612"/>
            <a:ext cx="3748668" cy="2286000"/>
          </a:xfrm>
          <a:prstGeom prst="rect">
            <a:avLst/>
          </a:prstGeom>
          <a:solidFill>
            <a:srgbClr val="00B050"/>
          </a:solidFill>
          <a:ln w="25400" cap="flat" cmpd="sng" algn="ctr">
            <a:solidFill>
              <a:srgbClr val="00CC99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kkal Majalla" panose="02000000000000000000" pitchFamily="2" charset="-78"/>
                <a:cs typeface="Sakkal Majalla" panose="02000000000000000000" pitchFamily="2" charset="-78"/>
              </a:rPr>
              <a:t>Photo explaining how it should be done righ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7AC772E-6015-4076-A0DC-005445BF4556}"/>
              </a:ext>
            </a:extLst>
          </p:cNvPr>
          <p:cNvSpPr/>
          <p:nvPr/>
        </p:nvSpPr>
        <p:spPr>
          <a:xfrm>
            <a:off x="4401317" y="1128804"/>
            <a:ext cx="7573835" cy="461665"/>
          </a:xfrm>
          <a:prstGeom prst="rect">
            <a:avLst/>
          </a:prstGeom>
          <a:solidFill>
            <a:srgbClr val="FFC000"/>
          </a:solidFill>
        </p:spPr>
        <p:txBody>
          <a:bodyPr wrap="square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EG" sz="2400" b="1" i="0" u="none" strike="noStrike" kern="1200" cap="none" spc="0" normalizeH="0" baseline="0" noProof="0" dirty="0">
                <a:ln>
                  <a:noFill/>
                </a:ln>
                <a:solidFill>
                  <a:srgbClr val="0D38B3"/>
                </a:solidFill>
                <a:effectLst/>
                <a:uLnTx/>
                <a:uFillTx/>
                <a:latin typeface="Sakkal Majalla" panose="02000000000000000000" pitchFamily="2" charset="-78"/>
                <a:cs typeface="Sakkal Majalla" panose="02000000000000000000" pitchFamily="2" charset="-78"/>
              </a:rPr>
              <a:t>الجمهور المستهدف: </a:t>
            </a:r>
            <a:r>
              <a:rPr kumimoji="0" lang="ar-EG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akkal Majalla" panose="02000000000000000000" pitchFamily="2" charset="-78"/>
                <a:cs typeface="Sakkal Majalla" panose="02000000000000000000" pitchFamily="2" charset="-78"/>
              </a:rPr>
              <a:t>الخدمات اللوجستية والتشغيل والإنشاءات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9534F91-FFF5-4BE2-969F-08BDA81C29D8}"/>
              </a:ext>
            </a:extLst>
          </p:cNvPr>
          <p:cNvSpPr txBox="1"/>
          <p:nvPr/>
        </p:nvSpPr>
        <p:spPr>
          <a:xfrm>
            <a:off x="4456739" y="5791248"/>
            <a:ext cx="7440034" cy="30777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ar-SA" sz="1400" b="1" dirty="0">
                <a:solidFill>
                  <a:srgbClr val="FFFF0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التأكد من الإشراف أثناء عمليات الرفع</a:t>
            </a:r>
            <a:r>
              <a:rPr lang="ar-EG" sz="1400" b="1" dirty="0">
                <a:solidFill>
                  <a:srgbClr val="FFFF0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 و</a:t>
            </a:r>
            <a:r>
              <a:rPr lang="ar-SA" sz="1400" b="1" dirty="0">
                <a:solidFill>
                  <a:srgbClr val="FFFF0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منع أي سقوط محتمل</a:t>
            </a:r>
            <a:r>
              <a:rPr lang="ar-EG" sz="1400" b="1" dirty="0">
                <a:solidFill>
                  <a:srgbClr val="FFFF0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 </a:t>
            </a:r>
            <a:r>
              <a:rPr lang="ar-SA" sz="1400" b="1" dirty="0">
                <a:solidFill>
                  <a:srgbClr val="FFFF0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وإخلاء المنطقة الحمراء من الأفراد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Sakkal Majalla" panose="02000000000000000000" pitchFamily="2" charset="-78"/>
              <a:ea typeface="MS PGothic" pitchFamily="34" charset="-128"/>
              <a:cs typeface="Sakkal Majalla" panose="02000000000000000000" pitchFamily="2" charset="-78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353BAAD-46CF-7621-2376-441C430D6E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2550" y="1295352"/>
            <a:ext cx="3748668" cy="236768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9B449B1-B4B2-A2EF-D7F1-2C3CC782EF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199" y="3726932"/>
            <a:ext cx="3848106" cy="236768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26088F4-A317-4585-8DA1-0604202B7351}"/>
              </a:ext>
            </a:extLst>
          </p:cNvPr>
          <p:cNvSpPr txBox="1"/>
          <p:nvPr/>
        </p:nvSpPr>
        <p:spPr>
          <a:xfrm>
            <a:off x="12023330" y="53259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2141572-918E-49E3-3700-3FC0839594C2}"/>
              </a:ext>
            </a:extLst>
          </p:cNvPr>
          <p:cNvSpPr txBox="1">
            <a:spLocks/>
          </p:cNvSpPr>
          <p:nvPr/>
        </p:nvSpPr>
        <p:spPr>
          <a:xfrm>
            <a:off x="227558" y="0"/>
            <a:ext cx="11964441" cy="536110"/>
          </a:xfrm>
          <a:prstGeom prst="rect">
            <a:avLst/>
          </a:prstGeom>
          <a:solidFill>
            <a:srgbClr val="FFC000"/>
          </a:soli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Gill Sans"/>
                <a:ea typeface="+mj-ea"/>
                <a:cs typeface="+mj-cs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EG" sz="3000" b="1" i="0" u="none" strike="noStrike" kern="1200" cap="none" spc="0" normalizeH="0" baseline="0" noProof="0" dirty="0">
                <a:ln>
                  <a:noFill/>
                </a:ln>
                <a:solidFill>
                  <a:srgbClr val="24A316"/>
                </a:solidFill>
                <a:effectLst/>
                <a:uLnTx/>
                <a:uFillTx/>
                <a:latin typeface="Sakkal Majalla" panose="02000000000000000000" pitchFamily="2" charset="-78"/>
                <a:ea typeface="Tahoma" panose="020B0604030504040204" pitchFamily="34" charset="0"/>
                <a:cs typeface="Sakkal Majalla" panose="02000000000000000000" pitchFamily="2" charset="-78"/>
              </a:rPr>
              <a:t>إنذار المستوى الثاني لشركة تنمية نفط عُمان</a:t>
            </a:r>
            <a:endParaRPr kumimoji="0" lang="en-GB" sz="3000" b="1" i="0" u="none" strike="noStrike" kern="1200" cap="none" spc="0" normalizeH="0" baseline="0" noProof="0" dirty="0">
              <a:ln>
                <a:noFill/>
              </a:ln>
              <a:solidFill>
                <a:srgbClr val="24A316"/>
              </a:solidFill>
              <a:effectLst/>
              <a:uLnTx/>
              <a:uFillTx/>
              <a:latin typeface="Sakkal Majalla" panose="02000000000000000000" pitchFamily="2" charset="-78"/>
              <a:ea typeface="Tahoma" panose="020B0604030504040204" pitchFamily="34" charset="0"/>
              <a:cs typeface="Sakkal Majalla" panose="02000000000000000000" pitchFamily="2" charset="-78"/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45B10D0A-1C91-D922-0ADE-BF1081376A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6337516"/>
              </p:ext>
            </p:extLst>
          </p:nvPr>
        </p:nvGraphicFramePr>
        <p:xfrm>
          <a:off x="467918" y="592415"/>
          <a:ext cx="11553338" cy="457200"/>
        </p:xfrm>
        <a:graphic>
          <a:graphicData uri="http://schemas.openxmlformats.org/drawingml/2006/table">
            <a:tbl>
              <a:tblPr rtl="1" firstRow="1" bandRow="1">
                <a:tableStyleId>{F5AB1C69-6EDB-4FF4-983F-18BD219EF322}</a:tableStyleId>
              </a:tblPr>
              <a:tblGrid>
                <a:gridCol w="645229">
                  <a:extLst>
                    <a:ext uri="{9D8B030D-6E8A-4147-A177-3AD203B41FA5}">
                      <a16:colId xmlns:a16="http://schemas.microsoft.com/office/drawing/2014/main" val="2915212829"/>
                    </a:ext>
                  </a:extLst>
                </a:gridCol>
                <a:gridCol w="833533">
                  <a:extLst>
                    <a:ext uri="{9D8B030D-6E8A-4147-A177-3AD203B41FA5}">
                      <a16:colId xmlns:a16="http://schemas.microsoft.com/office/drawing/2014/main" val="1263731317"/>
                    </a:ext>
                  </a:extLst>
                </a:gridCol>
                <a:gridCol w="1429230">
                  <a:extLst>
                    <a:ext uri="{9D8B030D-6E8A-4147-A177-3AD203B41FA5}">
                      <a16:colId xmlns:a16="http://schemas.microsoft.com/office/drawing/2014/main" val="3493424009"/>
                    </a:ext>
                  </a:extLst>
                </a:gridCol>
                <a:gridCol w="814508">
                  <a:extLst>
                    <a:ext uri="{9D8B030D-6E8A-4147-A177-3AD203B41FA5}">
                      <a16:colId xmlns:a16="http://schemas.microsoft.com/office/drawing/2014/main" val="578596613"/>
                    </a:ext>
                  </a:extLst>
                </a:gridCol>
                <a:gridCol w="1599044">
                  <a:extLst>
                    <a:ext uri="{9D8B030D-6E8A-4147-A177-3AD203B41FA5}">
                      <a16:colId xmlns:a16="http://schemas.microsoft.com/office/drawing/2014/main" val="710035722"/>
                    </a:ext>
                  </a:extLst>
                </a:gridCol>
                <a:gridCol w="1595120">
                  <a:extLst>
                    <a:ext uri="{9D8B030D-6E8A-4147-A177-3AD203B41FA5}">
                      <a16:colId xmlns:a16="http://schemas.microsoft.com/office/drawing/2014/main" val="1371902183"/>
                    </a:ext>
                  </a:extLst>
                </a:gridCol>
                <a:gridCol w="1024370">
                  <a:extLst>
                    <a:ext uri="{9D8B030D-6E8A-4147-A177-3AD203B41FA5}">
                      <a16:colId xmlns:a16="http://schemas.microsoft.com/office/drawing/2014/main" val="1814095484"/>
                    </a:ext>
                  </a:extLst>
                </a:gridCol>
                <a:gridCol w="1003446">
                  <a:extLst>
                    <a:ext uri="{9D8B030D-6E8A-4147-A177-3AD203B41FA5}">
                      <a16:colId xmlns:a16="http://schemas.microsoft.com/office/drawing/2014/main" val="2001367833"/>
                    </a:ext>
                  </a:extLst>
                </a:gridCol>
                <a:gridCol w="794618">
                  <a:extLst>
                    <a:ext uri="{9D8B030D-6E8A-4147-A177-3AD203B41FA5}">
                      <a16:colId xmlns:a16="http://schemas.microsoft.com/office/drawing/2014/main" val="2964666558"/>
                    </a:ext>
                  </a:extLst>
                </a:gridCol>
                <a:gridCol w="1814240">
                  <a:extLst>
                    <a:ext uri="{9D8B030D-6E8A-4147-A177-3AD203B41FA5}">
                      <a16:colId xmlns:a16="http://schemas.microsoft.com/office/drawing/2014/main" val="69545115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 rtl="1"/>
                      <a:r>
                        <a:rPr kumimoji="0" lang="ar-EG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تاريخ</a:t>
                      </a:r>
                      <a:r>
                        <a:rPr kumimoji="0" lang="en-GB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:</a:t>
                      </a:r>
                    </a:p>
                    <a:p>
                      <a:pPr algn="r" rtl="1"/>
                      <a:r>
                        <a:rPr kumimoji="0" lang="ar-EG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توقيت</a:t>
                      </a:r>
                      <a:r>
                        <a:rPr kumimoji="0" lang="en-GB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:</a:t>
                      </a:r>
                      <a:endParaRPr lang="en-US" sz="1200" dirty="0"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1"/>
                      <a:r>
                        <a:rPr kumimoji="0" lang="ar-OM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72C4"/>
                          </a:solidFill>
                          <a:effectLst/>
                          <a:uLnTx/>
                          <a:uFillTx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06/02/2025</a:t>
                      </a:r>
                      <a:endParaRPr kumimoji="0" lang="ar-EG" sz="1200" b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472C4"/>
                        </a:solidFill>
                        <a:effectLst/>
                        <a:uLnTx/>
                        <a:uFillTx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  <a:p>
                      <a:pPr algn="r" rtl="1"/>
                      <a:r>
                        <a:rPr kumimoji="0" lang="ar-OM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72C4"/>
                          </a:solidFill>
                          <a:effectLst/>
                          <a:uLnTx/>
                          <a:uFillTx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09:26 ص</a:t>
                      </a:r>
                      <a:endParaRPr lang="en-US" sz="1200" dirty="0"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1"/>
                      <a:r>
                        <a:rPr kumimoji="0" lang="ar-EG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عنوان الحادث</a:t>
                      </a:r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: </a:t>
                      </a:r>
                    </a:p>
                    <a:p>
                      <a:pPr marL="0" marR="0" lvl="0" indent="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EG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رقم إدارة معلومات المشروع:</a:t>
                      </a: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Sakkal Majalla" panose="02000000000000000000" pitchFamily="2" charset="-78"/>
                        <a:ea typeface="+mn-ea"/>
                        <a:cs typeface="Sakkal Majalla" panose="02000000000000000000" pitchFamily="2" charset="-78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1"/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72C4"/>
                          </a:solidFill>
                          <a:effectLst/>
                          <a:uLnTx/>
                          <a:uFillTx/>
                          <a:latin typeface="Sakkal Majalla" panose="02000000000000000000" pitchFamily="2" charset="-78"/>
                          <a:ea typeface="+mn-ea"/>
                          <a:cs typeface="Sakkal Majalla" panose="02000000000000000000" pitchFamily="2" charset="-78"/>
                        </a:rPr>
                        <a:t>HiPo#05</a:t>
                      </a:r>
                    </a:p>
                    <a:p>
                      <a:pPr algn="r" rtl="1"/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72C4"/>
                          </a:solidFill>
                          <a:effectLst/>
                          <a:uLnTx/>
                          <a:uFillTx/>
                          <a:latin typeface="Sakkal Majalla" panose="02000000000000000000" pitchFamily="2" charset="-78"/>
                          <a:ea typeface="+mn-ea"/>
                          <a:cs typeface="Sakkal Majalla" panose="02000000000000000000" pitchFamily="2" charset="-78"/>
                        </a:rPr>
                        <a:t>1174694</a:t>
                      </a:r>
                      <a:endParaRPr kumimoji="0" lang="ar-EG" sz="1200" b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472C4"/>
                        </a:solidFill>
                        <a:effectLst/>
                        <a:uLnTx/>
                        <a:uFillTx/>
                        <a:latin typeface="Sakkal Majalla" panose="02000000000000000000" pitchFamily="2" charset="-78"/>
                        <a:ea typeface="+mn-ea"/>
                        <a:cs typeface="Sakkal Majalla" panose="02000000000000000000" pitchFamily="2" charset="-78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EG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فئة المخاطر</a:t>
                      </a:r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: </a:t>
                      </a:r>
                    </a:p>
                    <a:p>
                      <a:pPr marL="0" marR="0" lvl="0" indent="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EG" sz="1200" b="1" kern="1200" noProof="0" dirty="0">
                          <a:solidFill>
                            <a:schemeClr val="tx1"/>
                          </a:solidFill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الإصابة/ الأصل المتضرر:</a:t>
                      </a:r>
                      <a:endParaRPr lang="en-US" sz="1200" b="1" kern="1200" dirty="0">
                        <a:solidFill>
                          <a:schemeClr val="tx1"/>
                        </a:solidFill>
                        <a:latin typeface="Sakkal Majalla" panose="02000000000000000000" pitchFamily="2" charset="-78"/>
                        <a:ea typeface="+mn-ea"/>
                        <a:cs typeface="Sakkal Majalla" panose="02000000000000000000" pitchFamily="2" charset="-78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1"/>
                      <a:r>
                        <a:rPr kumimoji="0" lang="ar-OM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72C4"/>
                          </a:solidFill>
                          <a:effectLst/>
                          <a:uLnTx/>
                          <a:uFillTx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منخفضة</a:t>
                      </a:r>
                      <a:endParaRPr kumimoji="0" lang="en-US" sz="1200" b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472C4"/>
                        </a:solidFill>
                        <a:effectLst/>
                        <a:uLnTx/>
                        <a:uFillTx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  <a:p>
                      <a:pPr algn="r" rtl="1"/>
                      <a:r>
                        <a:rPr kumimoji="0" lang="ar-OM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72C4"/>
                          </a:solidFill>
                          <a:effectLst/>
                          <a:uLnTx/>
                          <a:uFillTx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أضرار طفيفة</a:t>
                      </a:r>
                      <a:endParaRPr lang="en-US" sz="1200" dirty="0"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1"/>
                      <a:r>
                        <a:rPr kumimoji="0" lang="ar-EG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خطورة الفعلية</a:t>
                      </a:r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:</a:t>
                      </a:r>
                    </a:p>
                    <a:p>
                      <a:pPr algn="r" rtl="1"/>
                      <a:r>
                        <a:rPr kumimoji="0" lang="ar-EG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خطورة المحتملة:</a:t>
                      </a:r>
                      <a:endParaRPr lang="en-US" sz="1200" dirty="0"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1"/>
                      <a:r>
                        <a:rPr kumimoji="0" lang="en-GB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72C4"/>
                          </a:solidFill>
                          <a:effectLst/>
                          <a:uLnTx/>
                          <a:uFillTx/>
                          <a:latin typeface="Sakkal Majalla" panose="02000000000000000000" pitchFamily="2" charset="-78"/>
                          <a:ea typeface="+mn-ea"/>
                          <a:cs typeface="Sakkal Majalla" panose="02000000000000000000" pitchFamily="2" charset="-78"/>
                        </a:rPr>
                        <a:t>1E</a:t>
                      </a:r>
                    </a:p>
                    <a:p>
                      <a:pPr algn="r" rtl="1"/>
                      <a:r>
                        <a:rPr kumimoji="0" lang="en-GB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72C4"/>
                          </a:solidFill>
                          <a:effectLst/>
                          <a:uLnTx/>
                          <a:uFillTx/>
                          <a:latin typeface="Sakkal Majalla" panose="02000000000000000000" pitchFamily="2" charset="-78"/>
                          <a:ea typeface="+mn-ea"/>
                          <a:cs typeface="Sakkal Majalla" panose="02000000000000000000" pitchFamily="2" charset="-78"/>
                        </a:rPr>
                        <a:t>C4P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1" eaLnBrk="1" latinLnBrk="0" hangingPunct="1"/>
                      <a:r>
                        <a:rPr kumimoji="0" lang="ar-EG" sz="12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نشاط</a:t>
                      </a:r>
                      <a:r>
                        <a:rPr kumimoji="0" lang="en-GB" sz="12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:</a:t>
                      </a:r>
                    </a:p>
                    <a:p>
                      <a:pPr marL="0" algn="r" defTabSz="914400" rtl="1" eaLnBrk="1" latinLnBrk="0" hangingPunct="1"/>
                      <a:r>
                        <a:rPr kumimoji="0" lang="ar-EG" sz="12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موقع</a:t>
                      </a:r>
                      <a:r>
                        <a:rPr kumimoji="0" lang="en-GB" sz="12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:</a:t>
                      </a:r>
                      <a:endParaRPr kumimoji="0" lang="en-US" sz="12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Sakkal Majalla" panose="02000000000000000000" pitchFamily="2" charset="-78"/>
                        <a:ea typeface="+mn-ea"/>
                        <a:cs typeface="Sakkal Majalla" panose="02000000000000000000" pitchFamily="2" charset="-78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1"/>
                      <a:r>
                        <a:rPr kumimoji="0" lang="ar-OM" sz="12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4472C4"/>
                          </a:solidFill>
                          <a:effectLst/>
                          <a:uLnTx/>
                          <a:uFillTx/>
                          <a:latin typeface="Sakkal Majalla" panose="02000000000000000000" pitchFamily="2" charset="-78"/>
                          <a:ea typeface="+mn-ea"/>
                          <a:cs typeface="Sakkal Majalla" panose="02000000000000000000" pitchFamily="2" charset="-78"/>
                        </a:rPr>
                        <a:t>أنشطة الرفع</a:t>
                      </a:r>
                      <a:endParaRPr kumimoji="0" lang="en-US" sz="1200" b="1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4472C4"/>
                        </a:solidFill>
                        <a:effectLst/>
                        <a:uLnTx/>
                        <a:uFillTx/>
                        <a:latin typeface="Sakkal Majalla" panose="02000000000000000000" pitchFamily="2" charset="-78"/>
                        <a:ea typeface="+mn-ea"/>
                        <a:cs typeface="Sakkal Majalla" panose="02000000000000000000" pitchFamily="2" charset="-78"/>
                      </a:endParaRPr>
                    </a:p>
                    <a:p>
                      <a:pPr algn="r" rtl="1"/>
                      <a:r>
                        <a:rPr kumimoji="0" lang="ar-OM" sz="12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4472C4"/>
                          </a:solidFill>
                          <a:effectLst/>
                          <a:uLnTx/>
                          <a:uFillTx/>
                          <a:latin typeface="Sakkal Majalla" panose="02000000000000000000" pitchFamily="2" charset="-78"/>
                          <a:ea typeface="+mn-ea"/>
                          <a:cs typeface="Sakkal Majalla" panose="02000000000000000000" pitchFamily="2" charset="-78"/>
                        </a:rPr>
                        <a:t>سيح رول</a:t>
                      </a:r>
                      <a:endParaRPr kumimoji="0" lang="en-GB" sz="1200" b="1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4472C4"/>
                        </a:solidFill>
                        <a:effectLst/>
                        <a:uLnTx/>
                        <a:uFillTx/>
                        <a:latin typeface="Sakkal Majalla" panose="02000000000000000000" pitchFamily="2" charset="-78"/>
                        <a:ea typeface="+mn-ea"/>
                        <a:cs typeface="Sakkal Majalla" panose="02000000000000000000" pitchFamily="2" charset="-78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4084804"/>
                  </a:ext>
                </a:extLst>
              </a:tr>
            </a:tbl>
          </a:graphicData>
        </a:graphic>
      </p:graphicFrame>
      <p:sp>
        <p:nvSpPr>
          <p:cNvPr id="9" name="Freeform 132">
            <a:extLst>
              <a:ext uri="{FF2B5EF4-FFF2-40B4-BE49-F238E27FC236}">
                <a16:creationId xmlns:a16="http://schemas.microsoft.com/office/drawing/2014/main" id="{A68310E0-CF63-4276-BC7B-52B36A6230C6}"/>
              </a:ext>
            </a:extLst>
          </p:cNvPr>
          <p:cNvSpPr>
            <a:spLocks/>
          </p:cNvSpPr>
          <p:nvPr/>
        </p:nvSpPr>
        <p:spPr bwMode="auto">
          <a:xfrm>
            <a:off x="3779372" y="5562648"/>
            <a:ext cx="457200" cy="457200"/>
          </a:xfrm>
          <a:custGeom>
            <a:avLst/>
            <a:gdLst>
              <a:gd name="T0" fmla="*/ 0 w 1336"/>
              <a:gd name="T1" fmla="*/ 2147483647 h 888"/>
              <a:gd name="T2" fmla="*/ 2147483647 w 1336"/>
              <a:gd name="T3" fmla="*/ 2147483647 h 888"/>
              <a:gd name="T4" fmla="*/ 2147483647 w 1336"/>
              <a:gd name="T5" fmla="*/ 0 h 888"/>
              <a:gd name="T6" fmla="*/ 0 60000 65536"/>
              <a:gd name="T7" fmla="*/ 0 60000 65536"/>
              <a:gd name="T8" fmla="*/ 0 60000 65536"/>
              <a:gd name="T9" fmla="*/ 0 w 1336"/>
              <a:gd name="T10" fmla="*/ 0 h 888"/>
              <a:gd name="T11" fmla="*/ 1336 w 1336"/>
              <a:gd name="T12" fmla="*/ 888 h 88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336" h="888">
                <a:moveTo>
                  <a:pt x="0" y="600"/>
                </a:moveTo>
                <a:lnTo>
                  <a:pt x="312" y="888"/>
                </a:lnTo>
                <a:lnTo>
                  <a:pt x="1336" y="0"/>
                </a:lnTo>
              </a:path>
            </a:pathLst>
          </a:custGeom>
          <a:noFill/>
          <a:ln w="133350">
            <a:solidFill>
              <a:srgbClr val="00FF00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A3E9789-F8B8-BA16-C35C-42D3A89845F2}"/>
              </a:ext>
            </a:extLst>
          </p:cNvPr>
          <p:cNvSpPr txBox="1"/>
          <p:nvPr/>
        </p:nvSpPr>
        <p:spPr>
          <a:xfrm>
            <a:off x="3213177" y="6265968"/>
            <a:ext cx="85049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ar-EG" sz="14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سري – محظور مشاركته خارج شركة تنمية نفط عُمان / مقاوليها</a:t>
            </a:r>
            <a:endParaRPr lang="en-US" sz="1400" b="1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6162069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E45F78-3908-4D1A-82F1-C1ADC42E3F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870" y="-6892"/>
            <a:ext cx="12011130" cy="453582"/>
          </a:xfrm>
          <a:solidFill>
            <a:srgbClr val="FFC91D"/>
          </a:solidFill>
        </p:spPr>
        <p:txBody>
          <a:bodyPr>
            <a:noAutofit/>
          </a:bodyPr>
          <a:lstStyle/>
          <a:p>
            <a:pPr algn="ctr" rtl="1"/>
            <a:r>
              <a:rPr lang="ar-SA" sz="3000" b="1" dirty="0">
                <a:solidFill>
                  <a:srgbClr val="24A316"/>
                </a:solidFill>
                <a:latin typeface="Sakkal Majalla" panose="02000000000000000000" pitchFamily="2" charset="-78"/>
                <a:ea typeface="Tahoma" panose="020B0604030504040204" pitchFamily="34" charset="0"/>
                <a:cs typeface="Sakkal Majalla" panose="02000000000000000000" pitchFamily="2" charset="-78"/>
              </a:rPr>
              <a:t>التعلم الفعّال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A4C66E9-CF65-4A0F-9A16-76B64C582F3A}"/>
              </a:ext>
            </a:extLst>
          </p:cNvPr>
          <p:cNvSpPr/>
          <p:nvPr/>
        </p:nvSpPr>
        <p:spPr>
          <a:xfrm>
            <a:off x="440973" y="960866"/>
            <a:ext cx="1129254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r" rtl="1">
              <a:defRPr/>
            </a:pPr>
            <a:r>
              <a:rPr lang="ar-QA" sz="16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للتأكد من </a:t>
            </a:r>
            <a:r>
              <a:rPr lang="ar-EG" sz="16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تطبيق ما تعلمته من هذا الحادث على </a:t>
            </a:r>
            <a:r>
              <a:rPr lang="ar-QA" sz="16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لأنشطة اليومية في الموقع، ي</a:t>
            </a:r>
            <a:r>
              <a:rPr lang="ar-EG" sz="16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ُ</a:t>
            </a:r>
            <a:r>
              <a:rPr lang="ar-QA" sz="16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رجى الإجابة على الأسئلة التالية: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D883F2B-B3CE-4AB4-AB99-0AA90A5717A9}"/>
              </a:ext>
            </a:extLst>
          </p:cNvPr>
          <p:cNvSpPr/>
          <p:nvPr/>
        </p:nvSpPr>
        <p:spPr>
          <a:xfrm>
            <a:off x="425606" y="1519117"/>
            <a:ext cx="11361702" cy="30517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 sz="1600" b="1" dirty="0">
                <a:solidFill>
                  <a:srgbClr val="1C147E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كيف</a:t>
            </a:r>
            <a:r>
              <a:rPr lang="ar-SA" sz="16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 يمكن تطبيق الدروس المستفادة في الموقع؟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33CC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Wingdings" pitchFamily="2" charset="2"/>
            </a:endParaRPr>
          </a:p>
          <a:p>
            <a:pPr marL="342900" marR="0" lvl="0" indent="-34290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ar-SA" sz="1400" b="1" dirty="0">
                <a:solidFill>
                  <a:srgbClr val="0070C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إيقاف العمل والتنبيهات</a:t>
            </a:r>
            <a:endParaRPr lang="ar-EG" sz="1400" b="1" dirty="0">
              <a:solidFill>
                <a:srgbClr val="0070C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marL="342900" marR="0" lvl="0" indent="-34290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ar-SA" sz="1400" b="1" dirty="0">
                <a:solidFill>
                  <a:srgbClr val="0070C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تمارين السلامة وحديث صندوق الأدوات بمشاركة الإدارة مع إشراك فريق العمل الميداني</a:t>
            </a:r>
            <a:endParaRPr kumimoji="0" lang="en-US" sz="1400" b="1" i="0" u="sng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600" b="1" dirty="0">
              <a:solidFill>
                <a:srgbClr val="1C147E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 sz="1600" b="1" dirty="0">
                <a:solidFill>
                  <a:srgbClr val="1C147E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كيف</a:t>
            </a:r>
            <a:r>
              <a:rPr lang="ar-SA" sz="16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 يمكن الاستمرار في تطبيق هذا الإجراء؟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33CC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Wingdings" pitchFamily="2" charset="2"/>
            </a:endParaRPr>
          </a:p>
          <a:p>
            <a:pPr marL="342900" marR="0" lvl="0" indent="-34290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ar-SA" sz="1400" b="1" dirty="0">
                <a:solidFill>
                  <a:srgbClr val="0070C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جلسات القيادة والتوعية</a:t>
            </a:r>
            <a:endParaRPr lang="ar-EG" sz="1400" b="1" dirty="0">
              <a:solidFill>
                <a:srgbClr val="0070C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marL="342900" indent="-342900" algn="r" rtl="1">
              <a:buFont typeface="+mj-lt"/>
              <a:buAutoNum type="arabicPeriod"/>
            </a:pPr>
            <a:r>
              <a:rPr lang="ar-EG" sz="1400" b="1" dirty="0">
                <a:solidFill>
                  <a:srgbClr val="0070C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 </a:t>
            </a:r>
            <a:r>
              <a:rPr lang="ar-SA" sz="1400" b="1" dirty="0">
                <a:solidFill>
                  <a:srgbClr val="0070C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تحديد واضح لمسؤوليات ومهام جميع الأفراد وفق إطار </a:t>
            </a:r>
            <a:r>
              <a:rPr lang="ar-EG" sz="1400" b="1" dirty="0">
                <a:solidFill>
                  <a:srgbClr val="0070C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مصفوفة توزيع المسؤوليات</a:t>
            </a:r>
            <a:endParaRPr lang="en-US" sz="1400" dirty="0">
              <a:solidFill>
                <a:srgbClr val="0070C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marL="342900" indent="-342900" algn="r" rtl="1">
              <a:buFont typeface="+mj-lt"/>
              <a:buAutoNum type="arabicPeriod"/>
            </a:pPr>
            <a:r>
              <a:rPr lang="ar-SA" sz="1400" b="1" dirty="0">
                <a:solidFill>
                  <a:srgbClr val="0070C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التدقيق والمراجعات الميدانية من قبل الإدارة</a:t>
            </a:r>
            <a:endParaRPr lang="ar-SA" sz="1400" dirty="0">
              <a:solidFill>
                <a:srgbClr val="0070C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marL="342900" marR="0" lvl="0" indent="-34290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ar-SA" sz="1400" b="1" dirty="0">
                <a:solidFill>
                  <a:srgbClr val="0070C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تنفيذ تقويم الصحة والسلامة والبيئة لمواجهة طبيعية المخاطر</a:t>
            </a:r>
            <a:endParaRPr lang="en-US" sz="1400" b="1" dirty="0">
              <a:solidFill>
                <a:srgbClr val="0070C0"/>
              </a:solidFill>
              <a:latin typeface="Sakkal Majalla" panose="02000000000000000000" pitchFamily="2" charset="-78"/>
              <a:cs typeface="Sakkal Majalla" panose="02000000000000000000" pitchFamily="2" charset="-78"/>
              <a:sym typeface="Wingdings" pitchFamily="2" charset="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33CC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Wingdings" pitchFamily="2" charset="2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7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33CC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Wingdings" pitchFamily="2" charset="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33CC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Wingdings" pitchFamily="2" charset="2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51FAE40-764A-4069-BF77-488A5B661FA3}"/>
              </a:ext>
            </a:extLst>
          </p:cNvPr>
          <p:cNvSpPr txBox="1"/>
          <p:nvPr/>
        </p:nvSpPr>
        <p:spPr>
          <a:xfrm>
            <a:off x="3213177" y="6265968"/>
            <a:ext cx="85049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ar-EG" sz="14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سري – محظور مشاركته خارج شركة تنمية نفط عُمان / مقاوليها</a:t>
            </a:r>
            <a:endParaRPr lang="en-US" sz="1400" b="1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4296608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Image" ma:contentTypeID="0x0101009148F5A04DDD49CBA7127AADA5FB792B00AADE34325A8B49CDA8BB4DB53328F214009C4067D375EDA046866D1CFD34BA6725" ma:contentTypeVersion="4" ma:contentTypeDescription="Upload an image." ma:contentTypeScope="" ma:versionID="5568808217e8896a20d35b78a187a54b">
  <xsd:schema xmlns:xsd="http://www.w3.org/2001/XMLSchema" xmlns:xs="http://www.w3.org/2001/XMLSchema" xmlns:p="http://schemas.microsoft.com/office/2006/metadata/properties" xmlns:ns1="http://schemas.microsoft.com/sharepoint/v3" xmlns:ns2="4880E4F8-4B7D-4BDD-91E3-E10D47036ECA" xmlns:ns3="http://schemas.microsoft.com/sharepoint/v3/fields" xmlns:ns4="4880e4f8-4b7d-4bdd-91e3-e10d47036eca" xmlns:ns5="9d51eac6-a7d5-47f5-a119-63d146adb134" targetNamespace="http://schemas.microsoft.com/office/2006/metadata/properties" ma:root="true" ma:fieldsID="95b9b289a8e8f4d106e4c69b136198e4" ns1:_="" ns2:_="" ns3:_="" ns4:_="" ns5:_="">
    <xsd:import namespace="http://schemas.microsoft.com/sharepoint/v3"/>
    <xsd:import namespace="4880E4F8-4B7D-4BDD-91E3-E10D47036ECA"/>
    <xsd:import namespace="http://schemas.microsoft.com/sharepoint/v3/fields"/>
    <xsd:import namespace="4880e4f8-4b7d-4bdd-91e3-e10d47036eca"/>
    <xsd:import namespace="9d51eac6-a7d5-47f5-a119-63d146adb134"/>
    <xsd:element name="properties">
      <xsd:complexType>
        <xsd:sequence>
          <xsd:element name="documentManagement">
            <xsd:complexType>
              <xsd:all>
                <xsd:element ref="ns1:FileRef" minOccurs="0"/>
                <xsd:element ref="ns1:File_x0020_Type" minOccurs="0"/>
                <xsd:element ref="ns1:HTML_x0020_File_x0020_Type" minOccurs="0"/>
                <xsd:element ref="ns1:FSObjType" minOccurs="0"/>
                <xsd:element ref="ns2:ThumbnailExists" minOccurs="0"/>
                <xsd:element ref="ns2:PreviewExists" minOccurs="0"/>
                <xsd:element ref="ns2:ImageWidth" minOccurs="0"/>
                <xsd:element ref="ns2:ImageHeight" minOccurs="0"/>
                <xsd:element ref="ns2:ImageCreateDate" minOccurs="0"/>
                <xsd:element ref="ns3:wic_System_Copyright" minOccurs="0"/>
                <xsd:element ref="ns4:Language" minOccurs="0"/>
                <xsd:element ref="ns4:DocId" minOccurs="0"/>
                <xsd:element ref="ns5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FileRef" ma:index="8" nillable="true" ma:displayName="URL Path" ma:hidden="true" ma:list="Docs" ma:internalName="FileRef" ma:readOnly="true" ma:showField="FullUrl">
      <xsd:simpleType>
        <xsd:restriction base="dms:Lookup"/>
      </xsd:simpleType>
    </xsd:element>
    <xsd:element name="File_x0020_Type" ma:index="9" nillable="true" ma:displayName="File Type" ma:hidden="true" ma:internalName="File_x0020_Type" ma:readOnly="true">
      <xsd:simpleType>
        <xsd:restriction base="dms:Text"/>
      </xsd:simpleType>
    </xsd:element>
    <xsd:element name="HTML_x0020_File_x0020_Type" ma:index="10" nillable="true" ma:displayName="HTML File Type" ma:hidden="true" ma:internalName="HTML_x0020_File_x0020_Type" ma:readOnly="true">
      <xsd:simpleType>
        <xsd:restriction base="dms:Text"/>
      </xsd:simpleType>
    </xsd:element>
    <xsd:element name="FSObjType" ma:index="11" nillable="true" ma:displayName="Item Type" ma:hidden="true" ma:list="Docs" ma:internalName="FSObjType" ma:readOnly="true" ma:showField="FSType">
      <xsd:simpleType>
        <xsd:restriction base="dms:Lookup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80E4F8-4B7D-4BDD-91E3-E10D47036ECA" elementFormDefault="qualified">
    <xsd:import namespace="http://schemas.microsoft.com/office/2006/documentManagement/types"/>
    <xsd:import namespace="http://schemas.microsoft.com/office/infopath/2007/PartnerControls"/>
    <xsd:element name="ThumbnailExists" ma:index="18" nillable="true" ma:displayName="Thumbnail Exists" ma:default="FALSE" ma:hidden="true" ma:internalName="ThumbnailExists" ma:readOnly="true">
      <xsd:simpleType>
        <xsd:restriction base="dms:Boolean"/>
      </xsd:simpleType>
    </xsd:element>
    <xsd:element name="PreviewExists" ma:index="19" nillable="true" ma:displayName="Preview Exists" ma:default="FALSE" ma:hidden="true" ma:internalName="PreviewExists" ma:readOnly="true">
      <xsd:simpleType>
        <xsd:restriction base="dms:Boolean"/>
      </xsd:simpleType>
    </xsd:element>
    <xsd:element name="ImageWidth" ma:index="20" nillable="true" ma:displayName="Width" ma:internalName="ImageWidth" ma:readOnly="true">
      <xsd:simpleType>
        <xsd:restriction base="dms:Unknown"/>
      </xsd:simpleType>
    </xsd:element>
    <xsd:element name="ImageHeight" ma:index="22" nillable="true" ma:displayName="Height" ma:internalName="ImageHeight" ma:readOnly="true">
      <xsd:simpleType>
        <xsd:restriction base="dms:Unknown"/>
      </xsd:simpleType>
    </xsd:element>
    <xsd:element name="ImageCreateDate" ma:index="25" nillable="true" ma:displayName="Date Picture Taken" ma:format="DateTime" ma:hidden="true" ma:internalName="ImageCreateDat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wic_System_Copyright" ma:index="26" nillable="true" ma:displayName="Copyright" ma:internalName="wic_System_Copyright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80e4f8-4b7d-4bdd-91e3-e10d47036eca" elementFormDefault="qualified">
    <xsd:import namespace="http://schemas.microsoft.com/office/2006/documentManagement/types"/>
    <xsd:import namespace="http://schemas.microsoft.com/office/infopath/2007/PartnerControls"/>
    <xsd:element name="Language" ma:index="27" nillable="true" ma:displayName="Language" ma:default="English 1" ma:format="Dropdown" ma:internalName="Language">
      <xsd:simpleType>
        <xsd:restriction base="dms:Choice">
          <xsd:enumeration value="English"/>
          <xsd:enumeration value="Arabic"/>
          <xsd:enumeration value="Hindi"/>
          <xsd:enumeration value="English 1"/>
          <xsd:enumeration value="English 2"/>
          <xsd:enumeration value="Arabic 1"/>
          <xsd:enumeration value="Arabic 2"/>
          <xsd:enumeration value="Hindi 1"/>
          <xsd:enumeration value="Hindi 2"/>
          <xsd:enumeration value="Malayalam 1"/>
          <xsd:enumeration value="Malayalam 2"/>
        </xsd:restriction>
      </xsd:simpleType>
    </xsd:element>
    <xsd:element name="DocId" ma:index="28" nillable="true" ma:displayName="DocId" ma:list="{9de017a3-70b4-41a0-b3a1-4f7a098545da}" ma:internalName="DocId" ma:showField="ID" ma:web="9d51eac6-a7d5-47f5-a119-63d146adb134">
      <xsd:simpleType>
        <xsd:restriction base="dms:Lookup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51eac6-a7d5-47f5-a119-63d146adb134" elementFormDefault="qualified">
    <xsd:import namespace="http://schemas.microsoft.com/office/2006/documentManagement/types"/>
    <xsd:import namespace="http://schemas.microsoft.com/office/infopath/2007/PartnerControls"/>
    <xsd:element name="SharedWithUsers" ma:index="2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24" ma:displayName="Author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 ma:index="23" ma:displayName="Comments"/>
        <xsd:element name="keywords" minOccurs="0" maxOccurs="1" type="xsd:string" ma:index="14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anguage xmlns="4880e4f8-4b7d-4bdd-91e3-e10d47036eca">Arabic</Language>
    <DocId xmlns="4880e4f8-4b7d-4bdd-91e3-e10d47036eca">92952</DocId>
    <ImageCreateDate xmlns="4880E4F8-4B7D-4BDD-91E3-E10D47036ECA" xsi:nil="true"/>
    <wic_System_Copyright xmlns="http://schemas.microsoft.com/sharepoint/v3/fields" xsi:nil="true"/>
  </documentManagement>
</p:properties>
</file>

<file path=customXml/itemProps1.xml><?xml version="1.0" encoding="utf-8"?>
<ds:datastoreItem xmlns:ds="http://schemas.openxmlformats.org/officeDocument/2006/customXml" ds:itemID="{F9EED798-0192-47A6-A29C-94397B48DDF6}"/>
</file>

<file path=customXml/itemProps2.xml><?xml version="1.0" encoding="utf-8"?>
<ds:datastoreItem xmlns:ds="http://schemas.openxmlformats.org/officeDocument/2006/customXml" ds:itemID="{AC294A98-003A-4004-97F7-CA7653E91D01}"/>
</file>

<file path=customXml/itemProps3.xml><?xml version="1.0" encoding="utf-8"?>
<ds:datastoreItem xmlns:ds="http://schemas.openxmlformats.org/officeDocument/2006/customXml" ds:itemID="{2940AF51-29E7-412E-ACAA-3F08C9A28BE7}"/>
</file>

<file path=docProps/app.xml><?xml version="1.0" encoding="utf-8"?>
<Properties xmlns="http://schemas.openxmlformats.org/officeDocument/2006/extended-properties" xmlns:vt="http://schemas.openxmlformats.org/officeDocument/2006/docPropsVTypes">
  <TotalTime>472</TotalTime>
  <Words>613</Words>
  <Application>Microsoft Office PowerPoint</Application>
  <PresentationFormat>Widescreen</PresentationFormat>
  <Paragraphs>75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1" baseType="lpstr">
      <vt:lpstr>Aptos</vt:lpstr>
      <vt:lpstr>Arial</vt:lpstr>
      <vt:lpstr>Calibri</vt:lpstr>
      <vt:lpstr>Sakkal Majalla</vt:lpstr>
      <vt:lpstr>Segoe UI</vt:lpstr>
      <vt:lpstr>Times New Roman</vt:lpstr>
      <vt:lpstr>Wingdings</vt:lpstr>
      <vt:lpstr>1_Office Theme</vt:lpstr>
      <vt:lpstr>think-cell Slide</vt:lpstr>
      <vt:lpstr>PowerPoint Presentation</vt:lpstr>
      <vt:lpstr>التعلم الفعّال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nd Alert HiPo_05_Drop grating during lifting -  AR</dc:title>
  <dc:creator>Rawahi, Ahmed MSE34</dc:creator>
  <cp:lastModifiedBy>A PC</cp:lastModifiedBy>
  <cp:revision>11</cp:revision>
  <dcterms:created xsi:type="dcterms:W3CDTF">2025-07-13T12:13:09Z</dcterms:created>
  <dcterms:modified xsi:type="dcterms:W3CDTF">2025-12-11T19:27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148F5A04DDD49CBA7127AADA5FB792B00AADE34325A8B49CDA8BB4DB53328F214009C4067D375EDA046866D1CFD34BA6725</vt:lpwstr>
  </property>
</Properties>
</file>